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  <p:sldMasterId id="2147483703" r:id="rId6"/>
    <p:sldMasterId id="2147483708" r:id="rId7"/>
    <p:sldMasterId id="2147483713" r:id="rId8"/>
    <p:sldMasterId id="2147483718" r:id="rId9"/>
    <p:sldMasterId id="2147483723" r:id="rId10"/>
    <p:sldMasterId id="2147483728" r:id="rId11"/>
  </p:sldMasterIdLst>
  <p:notesMasterIdLst>
    <p:notesMasterId r:id="rId47"/>
  </p:notesMasterIdLst>
  <p:sldIdLst>
    <p:sldId id="3343" r:id="rId12"/>
    <p:sldId id="2147375033" r:id="rId13"/>
    <p:sldId id="2147375028" r:id="rId14"/>
    <p:sldId id="2147375032" r:id="rId15"/>
    <p:sldId id="2147375037" r:id="rId16"/>
    <p:sldId id="2147375036" r:id="rId17"/>
    <p:sldId id="2147375038" r:id="rId18"/>
    <p:sldId id="2147375034" r:id="rId19"/>
    <p:sldId id="2147375035" r:id="rId20"/>
    <p:sldId id="2147375030" r:id="rId21"/>
    <p:sldId id="2147375029" r:id="rId22"/>
    <p:sldId id="3346" r:id="rId23"/>
    <p:sldId id="2145705568" r:id="rId24"/>
    <p:sldId id="2145705566" r:id="rId25"/>
    <p:sldId id="2147375019" r:id="rId26"/>
    <p:sldId id="2147375017" r:id="rId27"/>
    <p:sldId id="2145705874" r:id="rId28"/>
    <p:sldId id="2145705878" r:id="rId29"/>
    <p:sldId id="2145705879" r:id="rId30"/>
    <p:sldId id="2145705900" r:id="rId31"/>
    <p:sldId id="2147375020" r:id="rId32"/>
    <p:sldId id="2145705872" r:id="rId33"/>
    <p:sldId id="2145705907" r:id="rId34"/>
    <p:sldId id="2147375014" r:id="rId35"/>
    <p:sldId id="2145705889" r:id="rId36"/>
    <p:sldId id="2147375021" r:id="rId37"/>
    <p:sldId id="2147375027" r:id="rId38"/>
    <p:sldId id="2147375000" r:id="rId39"/>
    <p:sldId id="2147375004" r:id="rId40"/>
    <p:sldId id="2147375005" r:id="rId41"/>
    <p:sldId id="2147375006" r:id="rId42"/>
    <p:sldId id="2147375007" r:id="rId43"/>
    <p:sldId id="2147375025" r:id="rId44"/>
    <p:sldId id="2147375031" r:id="rId45"/>
    <p:sldId id="2147375026" r:id="rId4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FC7A3D-3C27-B147-9AF5-36BEBC32620C}" v="13" dt="2023-05-19T15:05:53.0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11"/>
    <p:restoredTop sz="94830"/>
  </p:normalViewPr>
  <p:slideViewPr>
    <p:cSldViewPr snapToGrid="0">
      <p:cViewPr varScale="1">
        <p:scale>
          <a:sx n="189" d="100"/>
          <a:sy n="189" d="100"/>
        </p:scale>
        <p:origin x="192" y="10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6/1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787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149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128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0877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148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84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93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0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4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0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105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0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0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May 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9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 for HTT Splicing Enhancers:</a:t>
            </a:r>
          </a:p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isdiplam,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branplam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, and PTC518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D3355B7-CDF0-8280-B1EA-35938AABB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B7380893-B9CD-2CD5-7887-8E980358A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7B9D788-7FE0-F865-1606-182FF7798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FD8E3F-1601-0AB7-1061-0F562A84B1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33" y="1587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1261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4CFEEFBB-CAC1-5EEB-B871-6CABC1201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7A744C4-41FA-3298-9BD7-8E9AA162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0513F2-3793-8396-C53E-96F78D601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952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text, screenshot, font, line&#10;&#10;Description automatically generated">
            <a:extLst>
              <a:ext uri="{FF2B5EF4-FFF2-40B4-BE49-F238E27FC236}">
                <a16:creationId xmlns:a16="http://schemas.microsoft.com/office/drawing/2014/main" id="{56BB9158-17C5-7460-A1BB-29939F6DCE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460" y="2150076"/>
            <a:ext cx="7140832" cy="291465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40FD12D-B53B-EF37-05BF-6237250E981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Count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with current setting</a:t>
            </a:r>
          </a:p>
        </p:txBody>
      </p:sp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5C315EA8-2C1F-AF20-6875-BC6F90BC06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685800"/>
            <a:ext cx="5486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367480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5" name="Picture 4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4C5C2A72-9952-FDC7-CA89-D949DCD027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336" y="914400"/>
            <a:ext cx="5158946" cy="51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1821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8204885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7" name="Picture 6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57D7B37A-018E-9DF4-050B-476624C956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0192" y="0"/>
            <a:ext cx="33610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8699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2914078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563816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Multiline xmlns="4e4709c9-87d6-402e-95df-b29df3fed05a" xsi:nil="true"/>
    <lcf76f155ced4ddcb4097134ff3c332f xmlns="4e4709c9-87d6-402e-95df-b29df3fed05a">
      <Terms xmlns="http://schemas.microsoft.com/office/infopath/2007/PartnerControls"/>
    </lcf76f155ced4ddcb4097134ff3c332f>
    <TaxCatchAll xmlns="137a3160-e39e-49ab-b94b-b867a58e355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911351E59E2D41B5F48397CF19BE0B" ma:contentTypeVersion="28" ma:contentTypeDescription="Create a new document." ma:contentTypeScope="" ma:versionID="4fe18916558ffc364c946f55d62e9c93">
  <xsd:schema xmlns:xsd="http://www.w3.org/2001/XMLSchema" xmlns:xs="http://www.w3.org/2001/XMLSchema" xmlns:p="http://schemas.microsoft.com/office/2006/metadata/properties" xmlns:ns2="4e4709c9-87d6-402e-95df-b29df3fed05a" xmlns:ns3="http://schemas.microsoft.com/sharepoint/v4" xmlns:ns4="137a3160-e39e-49ab-b94b-b867a58e3559" targetNamespace="http://schemas.microsoft.com/office/2006/metadata/properties" ma:root="true" ma:fieldsID="ffb3a5b69b384962de402e6ae0a06012" ns2:_="" ns3:_="" ns4:_="">
    <xsd:import namespace="4e4709c9-87d6-402e-95df-b29df3fed05a"/>
    <xsd:import namespace="http://schemas.microsoft.com/sharepoint/v4"/>
    <xsd:import namespace="137a3160-e39e-49ab-b94b-b867a58e3559"/>
    <xsd:element name="properties">
      <xsd:complexType>
        <xsd:sequence>
          <xsd:element name="documentManagement">
            <xsd:complexType>
              <xsd:all>
                <xsd:element ref="ns2:Multiline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IconOverlay" minOccurs="0"/>
                <xsd:element ref="ns4:SharedWithUsers" minOccurs="0"/>
                <xsd:element ref="ns4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4709c9-87d6-402e-95df-b29df3fed05a" elementFormDefault="qualified">
    <xsd:import namespace="http://schemas.microsoft.com/office/2006/documentManagement/types"/>
    <xsd:import namespace="http://schemas.microsoft.com/office/infopath/2007/PartnerControls"/>
    <xsd:element name="Multiline" ma:index="8" nillable="true" ma:displayName="Notes" ma:internalName="Notes0" ma:readOnly="false">
      <xsd:simpleType>
        <xsd:restriction base="dms:Note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da02e20-3405-48c8-b010-e0d39bee4d1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a3160-e39e-49ab-b94b-b867a58e3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a7c2bf6-5ac2-4e55-858a-5b445ac41ad7}" ma:internalName="TaxCatchAll" ma:showField="CatchAllData" ma:web="137a3160-e39e-49ab-b94b-b867a58e3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8C8F3D-8615-4B42-9627-F06317436F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B453B5-92E4-4352-9F0B-572A1B2F3C04}">
  <ds:schemaRefs>
    <ds:schemaRef ds:uri="http://purl.org/dc/elements/1.1/"/>
    <ds:schemaRef ds:uri="http://schemas.microsoft.com/sharepoint/v4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137a3160-e39e-49ab-b94b-b867a58e3559"/>
    <ds:schemaRef ds:uri="4e4709c9-87d6-402e-95df-b29df3fed05a"/>
  </ds:schemaRefs>
</ds:datastoreItem>
</file>

<file path=customXml/itemProps3.xml><?xml version="1.0" encoding="utf-8"?>
<ds:datastoreItem xmlns:ds="http://schemas.openxmlformats.org/officeDocument/2006/customXml" ds:itemID="{94D080A4-022B-4C9F-A45F-D386253625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4709c9-87d6-402e-95df-b29df3fed05a"/>
    <ds:schemaRef ds:uri="http://schemas.microsoft.com/sharepoint/v4"/>
    <ds:schemaRef ds:uri="137a3160-e39e-49ab-b94b-b867a58e35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32718</TotalTime>
  <Words>1151</Words>
  <Application>Microsoft Macintosh PowerPoint</Application>
  <PresentationFormat>Widescreen</PresentationFormat>
  <Paragraphs>410</Paragraphs>
  <Slides>35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5</vt:i4>
      </vt:variant>
    </vt:vector>
  </HeadingPairs>
  <TitlesOfParts>
    <vt:vector size="56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3</cp:revision>
  <dcterms:created xsi:type="dcterms:W3CDTF">2021-06-27T14:47:41Z</dcterms:created>
  <dcterms:modified xsi:type="dcterms:W3CDTF">2023-06-17T06:3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911351E59E2D41B5F48397CF19BE0B</vt:lpwstr>
  </property>
</Properties>
</file>